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6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C9280"/>
    <a:srgbClr val="BC0000"/>
    <a:srgbClr val="EB3915"/>
    <a:srgbClr val="1ABC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70" d="100"/>
          <a:sy n="70" d="100"/>
        </p:scale>
        <p:origin x="-520" y="-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A044F2-789E-488B-AD24-988B11BAB56E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91EC62-5FA6-44F9-940A-FBA0EAE03A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3854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91EC62-5FA6-44F9-940A-FBA0EAE03A2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855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4074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844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757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7088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8247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7730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112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0884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0854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8511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061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041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slideLayout" Target="../slideLayouts/slideLayout1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9453705"/>
              </p:ext>
            </p:extLst>
          </p:nvPr>
        </p:nvGraphicFramePr>
        <p:xfrm>
          <a:off x="193963" y="1024466"/>
          <a:ext cx="11674767" cy="4464559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1136073"/>
                <a:gridCol w="1756449"/>
                <a:gridCol w="1756449"/>
                <a:gridCol w="1756449"/>
                <a:gridCol w="1756449"/>
                <a:gridCol w="1756449"/>
                <a:gridCol w="1756449"/>
              </a:tblGrid>
              <a:tr h="333279"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CA" sz="1200" dirty="0" smtClean="0">
                          <a:solidFill>
                            <a:schemeClr val="bg1"/>
                          </a:solidFill>
                        </a:rPr>
                        <a:t>Short term (0-12 months)</a:t>
                      </a:r>
                      <a:endParaRPr lang="en-CA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CA" sz="1200" dirty="0" smtClean="0">
                          <a:solidFill>
                            <a:schemeClr val="bg1"/>
                          </a:solidFill>
                        </a:rPr>
                        <a:t>Medium</a:t>
                      </a:r>
                      <a:r>
                        <a:rPr lang="en-CA" sz="1200" baseline="0" dirty="0" smtClean="0">
                          <a:solidFill>
                            <a:schemeClr val="bg1"/>
                          </a:solidFill>
                        </a:rPr>
                        <a:t> term (12-24 months)</a:t>
                      </a:r>
                      <a:endParaRPr lang="en-CA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CA" sz="1200" dirty="0" smtClean="0">
                          <a:solidFill>
                            <a:schemeClr val="bg1"/>
                          </a:solidFill>
                        </a:rPr>
                        <a:t>Long term (24-36 months)</a:t>
                      </a:r>
                      <a:endParaRPr lang="en-CA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</a:tr>
              <a:tr h="623935">
                <a:tc>
                  <a:txBody>
                    <a:bodyPr/>
                    <a:lstStyle/>
                    <a:p>
                      <a:pPr algn="ctr"/>
                      <a:r>
                        <a:rPr lang="en-CA" sz="1200" b="1" dirty="0" smtClean="0"/>
                        <a:t>Project</a:t>
                      </a:r>
                      <a:endParaRPr lang="en-CA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928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</a:tr>
              <a:tr h="1169115">
                <a:tc>
                  <a:txBody>
                    <a:bodyPr/>
                    <a:lstStyle/>
                    <a:p>
                      <a:pPr algn="ctr"/>
                      <a:r>
                        <a:rPr lang="en-CA" sz="1200" b="1" dirty="0" smtClean="0"/>
                        <a:t>Processes</a:t>
                      </a:r>
                      <a:endParaRPr lang="en-CA" sz="1200" b="1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69115">
                <a:tc>
                  <a:txBody>
                    <a:bodyPr/>
                    <a:lstStyle/>
                    <a:p>
                      <a:pPr algn="ctr"/>
                      <a:r>
                        <a:rPr lang="en-CA" sz="1200" b="1" dirty="0" smtClean="0"/>
                        <a:t>Technology</a:t>
                      </a:r>
                      <a:endParaRPr lang="en-CA" sz="12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95000"/>
                        <a:lumOff val="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</a:tr>
              <a:tr h="1169115">
                <a:tc>
                  <a:txBody>
                    <a:bodyPr/>
                    <a:lstStyle/>
                    <a:p>
                      <a:pPr algn="ctr"/>
                      <a:r>
                        <a:rPr lang="en-CA" sz="1200" b="1" dirty="0" smtClean="0">
                          <a:solidFill>
                            <a:schemeClr val="bg1"/>
                          </a:solidFill>
                        </a:rPr>
                        <a:t>People</a:t>
                      </a:r>
                      <a:endParaRPr lang="en-CA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2" name="Chevron 478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1406660" y="1428610"/>
            <a:ext cx="773123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Project charter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93" name="Chevron 478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2249053" y="1428609"/>
            <a:ext cx="752765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Project plan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94" name="Chevron 478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3084943" y="1434454"/>
            <a:ext cx="8174184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Project activity / budget tracking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95" name="Chevron 478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11259127" y="1428610"/>
            <a:ext cx="618836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Project closure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4" name="Flowchart: Decision 3"/>
          <p:cNvSpPr/>
          <p:nvPr/>
        </p:nvSpPr>
        <p:spPr>
          <a:xfrm>
            <a:off x="2059709" y="1703246"/>
            <a:ext cx="120074" cy="217918"/>
          </a:xfrm>
          <a:prstGeom prst="flowChartDecision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Rectangle 5"/>
          <p:cNvSpPr/>
          <p:nvPr/>
        </p:nvSpPr>
        <p:spPr>
          <a:xfrm>
            <a:off x="2175165" y="1699855"/>
            <a:ext cx="5757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eaLnBrk="0" hangingPunct="0"/>
            <a:r>
              <a:rPr lang="en-US" sz="1000" dirty="0" smtClean="0">
                <a:solidFill>
                  <a:prstClr val="black"/>
                </a:solidFill>
                <a:cs typeface="Arial" pitchFamily="34" charset="0"/>
                <a:sym typeface="Arial" pitchFamily="34" charset="0"/>
              </a:rPr>
              <a:t>Kick-off</a:t>
            </a:r>
            <a:endParaRPr lang="en-US" sz="1000" dirty="0">
              <a:solidFill>
                <a:prstClr val="black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99" name="Chevron 478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1749875" y="2099839"/>
            <a:ext cx="1335068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Current state assessment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0" name="Chevron 478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135747" y="2092560"/>
            <a:ext cx="1112984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Future state process design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1" name="Chevron 478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4322618" y="2107641"/>
            <a:ext cx="2241144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Future state process detailed design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2" name="Chevron 47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3135747" y="4412113"/>
            <a:ext cx="2225963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Legal/compliance/risk approvals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3" name="Chevron 478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749876" y="4818563"/>
            <a:ext cx="1335068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Stakeholder interviews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4" name="Chevron 478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759112" y="2418569"/>
            <a:ext cx="1335068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Procedure/process reviews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5" name="Chevron 478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2099803" y="3233690"/>
            <a:ext cx="1025235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Initial tech meetings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6" name="Chevron 478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4040875" y="3523408"/>
            <a:ext cx="1436253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Requirements </a:t>
            </a:r>
          </a:p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(System 1)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7" name="Chevron 478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4040878" y="3877635"/>
            <a:ext cx="1436250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Requirements </a:t>
            </a:r>
          </a:p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(System 2)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8" name="Chevron 478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5477128" y="3523408"/>
            <a:ext cx="3177985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Development (System 1)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9" name="Chevron 478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5477128" y="3910781"/>
            <a:ext cx="3177985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Development (System 2)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0" name="Chevron 478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3135747" y="3233689"/>
            <a:ext cx="835893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Intakes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1" name="Chevron 478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8699865" y="3523407"/>
            <a:ext cx="1146064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Testing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2" name="Chevron 47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8727541" y="3910780"/>
            <a:ext cx="1146064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Testing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3" name="Chevron 478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9873605" y="3721023"/>
            <a:ext cx="826723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End-to-end Testing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4" name="Flowchart: Decision 113"/>
          <p:cNvSpPr/>
          <p:nvPr/>
        </p:nvSpPr>
        <p:spPr>
          <a:xfrm>
            <a:off x="10772744" y="3738621"/>
            <a:ext cx="120074" cy="217918"/>
          </a:xfrm>
          <a:prstGeom prst="flowChartDecision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5" name="Rectangle 114"/>
          <p:cNvSpPr/>
          <p:nvPr/>
        </p:nvSpPr>
        <p:spPr>
          <a:xfrm>
            <a:off x="10873319" y="3735230"/>
            <a:ext cx="55015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eaLnBrk="0" hangingPunct="0"/>
            <a:r>
              <a:rPr lang="en-US" sz="1000" dirty="0" smtClean="0">
                <a:solidFill>
                  <a:prstClr val="black"/>
                </a:solidFill>
                <a:cs typeface="Arial" pitchFamily="34" charset="0"/>
                <a:sym typeface="Arial" pitchFamily="34" charset="0"/>
              </a:rPr>
              <a:t>Go-live</a:t>
            </a:r>
            <a:endParaRPr lang="en-US" sz="1000" dirty="0">
              <a:solidFill>
                <a:prstClr val="black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116" name="Chevron 478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647642" y="4405058"/>
            <a:ext cx="3052686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Change management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7" name="Chevron 478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9199383" y="4818563"/>
            <a:ext cx="1500945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Training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8" name="Chevron 478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0768126" y="2122722"/>
            <a:ext cx="1109837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Post go-live improvements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9" name="Chevron 478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10772744" y="2549759"/>
            <a:ext cx="1109837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Performance measurement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20" name="Chevron 478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1907308" y="2776287"/>
            <a:ext cx="1177635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Baseline measurement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21" name="Chevron 478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8437829" y="2122722"/>
            <a:ext cx="2105479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New process implementation </a:t>
            </a:r>
          </a:p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(non-tech)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3089944" y="1443690"/>
            <a:ext cx="3" cy="4070419"/>
          </a:xfrm>
          <a:prstGeom prst="line">
            <a:avLst/>
          </a:prstGeom>
          <a:ln>
            <a:solidFill>
              <a:srgbClr val="BC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2666865" y="5457837"/>
            <a:ext cx="8306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 smtClean="0">
                <a:solidFill>
                  <a:prstClr val="black"/>
                </a:solidFill>
                <a:cs typeface="Arial" pitchFamily="34" charset="0"/>
                <a:sym typeface="Arial" pitchFamily="34" charset="0"/>
              </a:rPr>
              <a:t>We are here</a:t>
            </a:r>
            <a:endParaRPr lang="en-CA" dirty="0"/>
          </a:p>
        </p:txBody>
      </p:sp>
      <p:cxnSp>
        <p:nvCxnSpPr>
          <p:cNvPr id="13" name="Elbow Connector 12"/>
          <p:cNvCxnSpPr>
            <a:stCxn id="121" idx="3"/>
          </p:cNvCxnSpPr>
          <p:nvPr/>
        </p:nvCxnSpPr>
        <p:spPr>
          <a:xfrm>
            <a:off x="10543308" y="2260041"/>
            <a:ext cx="193228" cy="1538003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Elbow Connector 129"/>
          <p:cNvCxnSpPr>
            <a:stCxn id="117" idx="3"/>
          </p:cNvCxnSpPr>
          <p:nvPr/>
        </p:nvCxnSpPr>
        <p:spPr>
          <a:xfrm flipV="1">
            <a:off x="10700328" y="3956539"/>
            <a:ext cx="36208" cy="999343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 Box 9"/>
          <p:cNvSpPr txBox="1">
            <a:spLocks noChangeArrowheads="1"/>
          </p:cNvSpPr>
          <p:nvPr/>
        </p:nvSpPr>
        <p:spPr bwMode="auto">
          <a:xfrm>
            <a:off x="265274" y="420154"/>
            <a:ext cx="497137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5000"/>
              </a:spcBef>
              <a:spcAft>
                <a:spcPct val="5000"/>
              </a:spcAft>
            </a:pPr>
            <a:r>
              <a:rPr lang="en-US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rPr>
              <a:t>Roadmap Example</a:t>
            </a:r>
            <a:endParaRPr lang="en-US" sz="2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Trebuchet MS" pitchFamily="34" charset="0"/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10768126" y="4840937"/>
            <a:ext cx="998609" cy="560151"/>
            <a:chOff x="9956800" y="4988079"/>
            <a:chExt cx="998609" cy="560151"/>
          </a:xfrm>
        </p:grpSpPr>
        <p:sp>
          <p:nvSpPr>
            <p:cNvPr id="137" name="TextBox 136"/>
            <p:cNvSpPr txBox="1"/>
            <p:nvPr/>
          </p:nvSpPr>
          <p:spPr>
            <a:xfrm>
              <a:off x="9966036" y="4988079"/>
              <a:ext cx="98937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sz="2400" b="1" dirty="0" smtClean="0">
                  <a:solidFill>
                    <a:srgbClr val="EB3915"/>
                  </a:solidFill>
                  <a:latin typeface="Arial" pitchFamily="34" charset="0"/>
                  <a:cs typeface="Arial" pitchFamily="34" charset="0"/>
                </a:rPr>
                <a:t>tasko</a:t>
              </a:r>
            </a:p>
          </p:txBody>
        </p:sp>
        <p:sp>
          <p:nvSpPr>
            <p:cNvPr id="138" name="Rectangle 137"/>
            <p:cNvSpPr/>
            <p:nvPr/>
          </p:nvSpPr>
          <p:spPr>
            <a:xfrm>
              <a:off x="9956800" y="5332786"/>
              <a:ext cx="944489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CA" sz="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consulting.com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51467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49</TotalTime>
  <Words>105</Words>
  <Application>Microsoft Office PowerPoint</Application>
  <PresentationFormat>Custom</PresentationFormat>
  <Paragraphs>42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</dc:creator>
  <cp:lastModifiedBy>Paradoxx</cp:lastModifiedBy>
  <cp:revision>79</cp:revision>
  <dcterms:created xsi:type="dcterms:W3CDTF">2017-08-29T01:10:13Z</dcterms:created>
  <dcterms:modified xsi:type="dcterms:W3CDTF">2022-01-16T00:10:31Z</dcterms:modified>
</cp:coreProperties>
</file>